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3"/>
  </p:notesMasterIdLst>
  <p:sldIdLst>
    <p:sldId id="257" r:id="rId2"/>
  </p:sldIdLst>
  <p:sldSz cx="21599525" cy="28800425"/>
  <p:notesSz cx="9144000" cy="6858000"/>
  <p:defaultTextStyle>
    <a:defPPr>
      <a:defRPr lang="en-US"/>
    </a:defPPr>
    <a:lvl1pPr marL="0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1pPr>
    <a:lvl2pPr marL="1373636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2pPr>
    <a:lvl3pPr marL="2747293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3pPr>
    <a:lvl4pPr marL="4120927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4pPr>
    <a:lvl5pPr marL="5494572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5pPr>
    <a:lvl6pPr marL="6868220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6pPr>
    <a:lvl7pPr marL="8241853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7pPr>
    <a:lvl8pPr marL="9615513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8pPr>
    <a:lvl9pPr marL="10989147" algn="l" defTabSz="1373636" rtl="0" eaLnBrk="1" latinLnBrk="0" hangingPunct="1">
      <a:defRPr sz="54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D9C"/>
    <a:srgbClr val="FCC300"/>
    <a:srgbClr val="00936D"/>
    <a:srgbClr val="9064A9"/>
    <a:srgbClr val="D8D8C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072" autoAdjust="0"/>
    <p:restoredTop sz="94660"/>
  </p:normalViewPr>
  <p:slideViewPr>
    <p:cSldViewPr snapToGrid="0">
      <p:cViewPr varScale="1">
        <p:scale>
          <a:sx n="28" d="100"/>
          <a:sy n="28" d="100"/>
        </p:scale>
        <p:origin x="2722" y="1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Verdana" panose="020B0604030504040204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5179484" y="0"/>
            <a:ext cx="3962400" cy="3440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Verdana" panose="020B0604030504040204" pitchFamily="34" charset="0"/>
              </a:defRPr>
            </a:lvl1pPr>
          </a:lstStyle>
          <a:p>
            <a:fld id="{0DB54705-F307-4B4C-AE72-B24157A92650}" type="datetimeFigureOut">
              <a:rPr lang="pt-BR" smtClean="0"/>
              <a:pPr/>
              <a:t>12/06/2024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3705225" y="857250"/>
            <a:ext cx="173355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914400" y="3300412"/>
            <a:ext cx="7315200" cy="2700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Verdana" panose="020B0604030504040204" pitchFamily="34" charset="0"/>
              </a:defRPr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5179484" y="6513910"/>
            <a:ext cx="3962400" cy="3440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Verdana" panose="020B0604030504040204" pitchFamily="34" charset="0"/>
              </a:defRPr>
            </a:lvl1pPr>
          </a:lstStyle>
          <a:p>
            <a:fld id="{D876497D-F7C8-4017-B209-45638B947510}" type="slidenum">
              <a:rPr lang="pt-BR" smtClean="0"/>
              <a:pPr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6097781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2747293" rtl="0" eaLnBrk="1" latinLnBrk="0" hangingPunct="1">
      <a:defRPr sz="3608" b="0" i="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1pPr>
    <a:lvl2pPr marL="1373636" algn="l" defTabSz="2747293" rtl="0" eaLnBrk="1" latinLnBrk="0" hangingPunct="1">
      <a:defRPr sz="3608" b="0" i="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2pPr>
    <a:lvl3pPr marL="2747293" algn="l" defTabSz="2747293" rtl="0" eaLnBrk="1" latinLnBrk="0" hangingPunct="1">
      <a:defRPr sz="3608" b="0" i="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3pPr>
    <a:lvl4pPr marL="4120927" algn="l" defTabSz="2747293" rtl="0" eaLnBrk="1" latinLnBrk="0" hangingPunct="1">
      <a:defRPr sz="3608" b="0" i="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4pPr>
    <a:lvl5pPr marL="5494572" algn="l" defTabSz="2747293" rtl="0" eaLnBrk="1" latinLnBrk="0" hangingPunct="1">
      <a:defRPr sz="3608" b="0" i="0" kern="1200">
        <a:solidFill>
          <a:schemeClr val="tx1"/>
        </a:solidFill>
        <a:latin typeface="Verdana" panose="020B0604030504040204" pitchFamily="34" charset="0"/>
        <a:ea typeface="+mn-ea"/>
        <a:cs typeface="+mn-cs"/>
      </a:defRPr>
    </a:lvl5pPr>
    <a:lvl6pPr marL="6868220" algn="l" defTabSz="2747293" rtl="0" eaLnBrk="1" latinLnBrk="0" hangingPunct="1">
      <a:defRPr sz="3608" kern="1200">
        <a:solidFill>
          <a:schemeClr val="tx1"/>
        </a:solidFill>
        <a:latin typeface="+mn-lt"/>
        <a:ea typeface="+mn-ea"/>
        <a:cs typeface="+mn-cs"/>
      </a:defRPr>
    </a:lvl6pPr>
    <a:lvl7pPr marL="8241853" algn="l" defTabSz="2747293" rtl="0" eaLnBrk="1" latinLnBrk="0" hangingPunct="1">
      <a:defRPr sz="3608" kern="1200">
        <a:solidFill>
          <a:schemeClr val="tx1"/>
        </a:solidFill>
        <a:latin typeface="+mn-lt"/>
        <a:ea typeface="+mn-ea"/>
        <a:cs typeface="+mn-cs"/>
      </a:defRPr>
    </a:lvl7pPr>
    <a:lvl8pPr marL="9615513" algn="l" defTabSz="2747293" rtl="0" eaLnBrk="1" latinLnBrk="0" hangingPunct="1">
      <a:defRPr sz="3608" kern="1200">
        <a:solidFill>
          <a:schemeClr val="tx1"/>
        </a:solidFill>
        <a:latin typeface="+mn-lt"/>
        <a:ea typeface="+mn-ea"/>
        <a:cs typeface="+mn-cs"/>
      </a:defRPr>
    </a:lvl8pPr>
    <a:lvl9pPr marL="10989147" algn="l" defTabSz="2747293" rtl="0" eaLnBrk="1" latinLnBrk="0" hangingPunct="1">
      <a:defRPr sz="36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3705225" y="857250"/>
            <a:ext cx="1733550" cy="2314575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DFSS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E2D7D-E9FA-456A-94F0-E8B8B93EBFCD}" type="slidenum">
              <a:rPr lang="pt-BR" smtClean="0">
                <a:solidFill>
                  <a:prstClr val="black"/>
                </a:solidFill>
              </a:rPr>
              <a:pPr/>
              <a:t>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9778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19965" y="4713405"/>
            <a:ext cx="18359596" cy="10026815"/>
          </a:xfrm>
        </p:spPr>
        <p:txBody>
          <a:bodyPr anchor="b"/>
          <a:lstStyle>
            <a:lvl1pPr algn="ctr">
              <a:defRPr sz="14173"/>
            </a:lvl1pPr>
          </a:lstStyle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99941" y="15126892"/>
            <a:ext cx="16199644" cy="6953434"/>
          </a:xfrm>
        </p:spPr>
        <p:txBody>
          <a:bodyPr/>
          <a:lstStyle>
            <a:lvl1pPr marL="0" indent="0" algn="ctr">
              <a:buNone/>
              <a:defRPr sz="5669"/>
            </a:lvl1pPr>
            <a:lvl2pPr marL="1079998" indent="0" algn="ctr">
              <a:buNone/>
              <a:defRPr sz="4724"/>
            </a:lvl2pPr>
            <a:lvl3pPr marL="2159996" indent="0" algn="ctr">
              <a:buNone/>
              <a:defRPr sz="4252"/>
            </a:lvl3pPr>
            <a:lvl4pPr marL="3239994" indent="0" algn="ctr">
              <a:buNone/>
              <a:defRPr sz="3780"/>
            </a:lvl4pPr>
            <a:lvl5pPr marL="4319991" indent="0" algn="ctr">
              <a:buNone/>
              <a:defRPr sz="3780"/>
            </a:lvl5pPr>
            <a:lvl6pPr marL="5399989" indent="0" algn="ctr">
              <a:buNone/>
              <a:defRPr sz="3780"/>
            </a:lvl6pPr>
            <a:lvl7pPr marL="6479987" indent="0" algn="ctr">
              <a:buNone/>
              <a:defRPr sz="3780"/>
            </a:lvl7pPr>
            <a:lvl8pPr marL="7559985" indent="0" algn="ctr">
              <a:buNone/>
              <a:defRPr sz="3780"/>
            </a:lvl8pPr>
            <a:lvl9pPr marL="8639983" indent="0" algn="ctr">
              <a:buNone/>
              <a:defRPr sz="3780"/>
            </a:lvl9pPr>
          </a:lstStyle>
          <a:p>
            <a:r>
              <a:rPr lang="pt-BR"/>
              <a:t>Clique para editar o estilo do subtítulo mest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457161" y="1533356"/>
            <a:ext cx="4657398" cy="24407029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84968" y="1533356"/>
            <a:ext cx="13702199" cy="24407029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73719" y="7180114"/>
            <a:ext cx="18629590" cy="11980175"/>
          </a:xfrm>
        </p:spPr>
        <p:txBody>
          <a:bodyPr anchor="b"/>
          <a:lstStyle>
            <a:lvl1pPr>
              <a:defRPr sz="14173"/>
            </a:lvl1pPr>
          </a:lstStyle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73719" y="19273626"/>
            <a:ext cx="18629590" cy="6300091"/>
          </a:xfrm>
        </p:spPr>
        <p:txBody>
          <a:bodyPr/>
          <a:lstStyle>
            <a:lvl1pPr marL="0" indent="0">
              <a:buNone/>
              <a:defRPr sz="5669">
                <a:solidFill>
                  <a:schemeClr val="tx1"/>
                </a:solidFill>
              </a:defRPr>
            </a:lvl1pPr>
            <a:lvl2pPr marL="1079998" indent="0">
              <a:buNone/>
              <a:defRPr sz="4724">
                <a:solidFill>
                  <a:schemeClr val="tx1">
                    <a:tint val="75000"/>
                  </a:schemeClr>
                </a:solidFill>
              </a:defRPr>
            </a:lvl2pPr>
            <a:lvl3pPr marL="2159996" indent="0">
              <a:buNone/>
              <a:defRPr sz="4252">
                <a:solidFill>
                  <a:schemeClr val="tx1">
                    <a:tint val="75000"/>
                  </a:schemeClr>
                </a:solidFill>
              </a:defRPr>
            </a:lvl3pPr>
            <a:lvl4pPr marL="3239994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4pPr>
            <a:lvl5pPr marL="4319991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5pPr>
            <a:lvl6pPr marL="5399989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6pPr>
            <a:lvl7pPr marL="6479987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7pPr>
            <a:lvl8pPr marL="7559985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8pPr>
            <a:lvl9pPr marL="8639983" indent="0">
              <a:buNone/>
              <a:defRPr sz="37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4967" y="7666780"/>
            <a:ext cx="9179798" cy="18273605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34760" y="7666780"/>
            <a:ext cx="9179798" cy="18273605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781" y="1533362"/>
            <a:ext cx="18629590" cy="5566751"/>
          </a:xfrm>
        </p:spPr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7783" y="7060106"/>
            <a:ext cx="9137610" cy="3460049"/>
          </a:xfrm>
        </p:spPr>
        <p:txBody>
          <a:bodyPr anchor="b"/>
          <a:lstStyle>
            <a:lvl1pPr marL="0" indent="0">
              <a:buNone/>
              <a:defRPr sz="5669" b="1"/>
            </a:lvl1pPr>
            <a:lvl2pPr marL="1079998" indent="0">
              <a:buNone/>
              <a:defRPr sz="4724" b="1"/>
            </a:lvl2pPr>
            <a:lvl3pPr marL="2159996" indent="0">
              <a:buNone/>
              <a:defRPr sz="4252" b="1"/>
            </a:lvl3pPr>
            <a:lvl4pPr marL="3239994" indent="0">
              <a:buNone/>
              <a:defRPr sz="3780" b="1"/>
            </a:lvl4pPr>
            <a:lvl5pPr marL="4319991" indent="0">
              <a:buNone/>
              <a:defRPr sz="3780" b="1"/>
            </a:lvl5pPr>
            <a:lvl6pPr marL="5399989" indent="0">
              <a:buNone/>
              <a:defRPr sz="3780" b="1"/>
            </a:lvl6pPr>
            <a:lvl7pPr marL="6479987" indent="0">
              <a:buNone/>
              <a:defRPr sz="3780" b="1"/>
            </a:lvl7pPr>
            <a:lvl8pPr marL="7559985" indent="0">
              <a:buNone/>
              <a:defRPr sz="3780" b="1"/>
            </a:lvl8pPr>
            <a:lvl9pPr marL="8639983" indent="0">
              <a:buNone/>
              <a:defRPr sz="378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87783" y="10520155"/>
            <a:ext cx="9137610" cy="154735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934761" y="7060106"/>
            <a:ext cx="9182611" cy="3460049"/>
          </a:xfrm>
        </p:spPr>
        <p:txBody>
          <a:bodyPr anchor="b"/>
          <a:lstStyle>
            <a:lvl1pPr marL="0" indent="0">
              <a:buNone/>
              <a:defRPr sz="5669" b="1"/>
            </a:lvl1pPr>
            <a:lvl2pPr marL="1079998" indent="0">
              <a:buNone/>
              <a:defRPr sz="4724" b="1"/>
            </a:lvl2pPr>
            <a:lvl3pPr marL="2159996" indent="0">
              <a:buNone/>
              <a:defRPr sz="4252" b="1"/>
            </a:lvl3pPr>
            <a:lvl4pPr marL="3239994" indent="0">
              <a:buNone/>
              <a:defRPr sz="3780" b="1"/>
            </a:lvl4pPr>
            <a:lvl5pPr marL="4319991" indent="0">
              <a:buNone/>
              <a:defRPr sz="3780" b="1"/>
            </a:lvl5pPr>
            <a:lvl6pPr marL="5399989" indent="0">
              <a:buNone/>
              <a:defRPr sz="3780" b="1"/>
            </a:lvl6pPr>
            <a:lvl7pPr marL="6479987" indent="0">
              <a:buNone/>
              <a:defRPr sz="3780" b="1"/>
            </a:lvl7pPr>
            <a:lvl8pPr marL="7559985" indent="0">
              <a:buNone/>
              <a:defRPr sz="3780" b="1"/>
            </a:lvl8pPr>
            <a:lvl9pPr marL="8639983" indent="0">
              <a:buNone/>
              <a:defRPr sz="378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934761" y="10520155"/>
            <a:ext cx="9182611" cy="15473564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781" y="1920028"/>
            <a:ext cx="6966409" cy="6720099"/>
          </a:xfrm>
        </p:spPr>
        <p:txBody>
          <a:bodyPr anchor="b"/>
          <a:lstStyle>
            <a:lvl1pPr>
              <a:defRPr sz="7559"/>
            </a:lvl1pPr>
          </a:lstStyle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82611" y="4146734"/>
            <a:ext cx="10934760" cy="20466969"/>
          </a:xfrm>
        </p:spPr>
        <p:txBody>
          <a:bodyPr/>
          <a:lstStyle>
            <a:lvl1pPr>
              <a:defRPr sz="7559"/>
            </a:lvl1pPr>
            <a:lvl2pPr>
              <a:defRPr sz="6614"/>
            </a:lvl2pPr>
            <a:lvl3pPr>
              <a:defRPr sz="5669"/>
            </a:lvl3pPr>
            <a:lvl4pPr>
              <a:defRPr sz="4724"/>
            </a:lvl4pPr>
            <a:lvl5pPr>
              <a:defRPr sz="4724"/>
            </a:lvl5pPr>
            <a:lvl6pPr>
              <a:defRPr sz="4724"/>
            </a:lvl6pPr>
            <a:lvl7pPr>
              <a:defRPr sz="4724"/>
            </a:lvl7pPr>
            <a:lvl8pPr>
              <a:defRPr sz="4724"/>
            </a:lvl8pPr>
            <a:lvl9pPr>
              <a:defRPr sz="4724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7781" y="8640127"/>
            <a:ext cx="6966409" cy="16006905"/>
          </a:xfrm>
        </p:spPr>
        <p:txBody>
          <a:bodyPr/>
          <a:lstStyle>
            <a:lvl1pPr marL="0" indent="0">
              <a:buNone/>
              <a:defRPr sz="3780"/>
            </a:lvl1pPr>
            <a:lvl2pPr marL="1079998" indent="0">
              <a:buNone/>
              <a:defRPr sz="3307"/>
            </a:lvl2pPr>
            <a:lvl3pPr marL="2159996" indent="0">
              <a:buNone/>
              <a:defRPr sz="2835"/>
            </a:lvl3pPr>
            <a:lvl4pPr marL="3239994" indent="0">
              <a:buNone/>
              <a:defRPr sz="2362"/>
            </a:lvl4pPr>
            <a:lvl5pPr marL="4319991" indent="0">
              <a:buNone/>
              <a:defRPr sz="2362"/>
            </a:lvl5pPr>
            <a:lvl6pPr marL="5399989" indent="0">
              <a:buNone/>
              <a:defRPr sz="2362"/>
            </a:lvl6pPr>
            <a:lvl7pPr marL="6479987" indent="0">
              <a:buNone/>
              <a:defRPr sz="2362"/>
            </a:lvl7pPr>
            <a:lvl8pPr marL="7559985" indent="0">
              <a:buNone/>
              <a:defRPr sz="2362"/>
            </a:lvl8pPr>
            <a:lvl9pPr marL="8639983" indent="0">
              <a:buNone/>
              <a:defRPr sz="2362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781" y="1920028"/>
            <a:ext cx="6966409" cy="6720099"/>
          </a:xfrm>
        </p:spPr>
        <p:txBody>
          <a:bodyPr anchor="b"/>
          <a:lstStyle>
            <a:lvl1pPr>
              <a:defRPr sz="7559"/>
            </a:lvl1pPr>
          </a:lstStyle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182611" y="4146734"/>
            <a:ext cx="10934760" cy="20466969"/>
          </a:xfrm>
        </p:spPr>
        <p:txBody>
          <a:bodyPr anchor="t"/>
          <a:lstStyle>
            <a:lvl1pPr marL="0" indent="0">
              <a:buNone/>
              <a:defRPr sz="7559"/>
            </a:lvl1pPr>
            <a:lvl2pPr marL="1079998" indent="0">
              <a:buNone/>
              <a:defRPr sz="6614"/>
            </a:lvl2pPr>
            <a:lvl3pPr marL="2159996" indent="0">
              <a:buNone/>
              <a:defRPr sz="5669"/>
            </a:lvl3pPr>
            <a:lvl4pPr marL="3239994" indent="0">
              <a:buNone/>
              <a:defRPr sz="4724"/>
            </a:lvl4pPr>
            <a:lvl5pPr marL="4319991" indent="0">
              <a:buNone/>
              <a:defRPr sz="4724"/>
            </a:lvl5pPr>
            <a:lvl6pPr marL="5399989" indent="0">
              <a:buNone/>
              <a:defRPr sz="4724"/>
            </a:lvl6pPr>
            <a:lvl7pPr marL="6479987" indent="0">
              <a:buNone/>
              <a:defRPr sz="4724"/>
            </a:lvl7pPr>
            <a:lvl8pPr marL="7559985" indent="0">
              <a:buNone/>
              <a:defRPr sz="4724"/>
            </a:lvl8pPr>
            <a:lvl9pPr marL="8639983" indent="0">
              <a:buNone/>
              <a:defRPr sz="4724"/>
            </a:lvl9pPr>
          </a:lstStyle>
          <a:p>
            <a:r>
              <a:rPr lang="pt-BR"/>
              <a:t>Arraste a imagem para o espaço reservado ou clique no ícone para adiciona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87781" y="8640127"/>
            <a:ext cx="6966409" cy="16006905"/>
          </a:xfrm>
        </p:spPr>
        <p:txBody>
          <a:bodyPr/>
          <a:lstStyle>
            <a:lvl1pPr marL="0" indent="0">
              <a:buNone/>
              <a:defRPr sz="3780"/>
            </a:lvl1pPr>
            <a:lvl2pPr marL="1079998" indent="0">
              <a:buNone/>
              <a:defRPr sz="3307"/>
            </a:lvl2pPr>
            <a:lvl3pPr marL="2159996" indent="0">
              <a:buNone/>
              <a:defRPr sz="2835"/>
            </a:lvl3pPr>
            <a:lvl4pPr marL="3239994" indent="0">
              <a:buNone/>
              <a:defRPr sz="2362"/>
            </a:lvl4pPr>
            <a:lvl5pPr marL="4319991" indent="0">
              <a:buNone/>
              <a:defRPr sz="2362"/>
            </a:lvl5pPr>
            <a:lvl6pPr marL="5399989" indent="0">
              <a:buNone/>
              <a:defRPr sz="2362"/>
            </a:lvl6pPr>
            <a:lvl7pPr marL="6479987" indent="0">
              <a:buNone/>
              <a:defRPr sz="2362"/>
            </a:lvl7pPr>
            <a:lvl8pPr marL="7559985" indent="0">
              <a:buNone/>
              <a:defRPr sz="2362"/>
            </a:lvl8pPr>
            <a:lvl9pPr marL="8639983" indent="0">
              <a:buNone/>
              <a:defRPr sz="2362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84968" y="1533362"/>
            <a:ext cx="18629590" cy="55667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estilo do título mes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84968" y="7666780"/>
            <a:ext cx="18629590" cy="182736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84967" y="26693734"/>
            <a:ext cx="4859893" cy="15333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8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smtClean="0"/>
              <a:t>6/12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54843" y="26693734"/>
            <a:ext cx="7289840" cy="15333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8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254665" y="26693734"/>
            <a:ext cx="4859893" cy="15333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83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nº›</a:t>
            </a:fld>
            <a:endParaRPr lang="en-US" dirty="0"/>
          </a:p>
        </p:txBody>
      </p:sp>
      <p:graphicFrame>
        <p:nvGraphicFramePr>
          <p:cNvPr id="7" name="Objeto 1" hidden="1">
            <a:extLst>
              <a:ext uri="{FF2B5EF4-FFF2-40B4-BE49-F238E27FC236}">
                <a16:creationId xmlns:a16="http://schemas.microsoft.com/office/drawing/2014/main" id="{16F5BEDF-3BAD-FF4B-B459-4331F97AC6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845" y="6669"/>
          <a:ext cx="2813" cy="66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4" imgW="270" imgH="270" progId="TCLayout.ActiveDocument.1">
                  <p:embed/>
                </p:oleObj>
              </mc:Choice>
              <mc:Fallback>
                <p:oleObj name="Slide do think-cell" r:id="rId14" imgW="270" imgH="270" progId="TCLayout.ActiveDocument.1">
                  <p:embed/>
                  <p:pic>
                    <p:nvPicPr>
                      <p:cNvPr id="7" name="Objeto 1" hidden="1">
                        <a:extLst>
                          <a:ext uri="{FF2B5EF4-FFF2-40B4-BE49-F238E27FC236}">
                            <a16:creationId xmlns:a16="http://schemas.microsoft.com/office/drawing/2014/main" id="{16F5BEDF-3BAD-FF4B-B459-4331F97AC6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845" y="6669"/>
                        <a:ext cx="2813" cy="66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770987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2159996" rtl="0" eaLnBrk="1" latinLnBrk="0" hangingPunct="1">
        <a:lnSpc>
          <a:spcPct val="90000"/>
        </a:lnSpc>
        <a:spcBef>
          <a:spcPct val="0"/>
        </a:spcBef>
        <a:buNone/>
        <a:defRPr sz="1039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39999" indent="-539999" algn="l" defTabSz="2159996" rtl="0" eaLnBrk="1" latinLnBrk="0" hangingPunct="1">
        <a:lnSpc>
          <a:spcPct val="90000"/>
        </a:lnSpc>
        <a:spcBef>
          <a:spcPts val="2362"/>
        </a:spcBef>
        <a:buFont typeface="Arial" panose="020B0604020202020204" pitchFamily="34" charset="0"/>
        <a:buChar char="•"/>
        <a:defRPr sz="6614" kern="1200">
          <a:solidFill>
            <a:schemeClr val="tx1"/>
          </a:solidFill>
          <a:latin typeface="+mn-lt"/>
          <a:ea typeface="+mn-ea"/>
          <a:cs typeface="+mn-cs"/>
        </a:defRPr>
      </a:lvl1pPr>
      <a:lvl2pPr marL="1619997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5669" kern="1200">
          <a:solidFill>
            <a:schemeClr val="tx1"/>
          </a:solidFill>
          <a:latin typeface="+mn-lt"/>
          <a:ea typeface="+mn-ea"/>
          <a:cs typeface="+mn-cs"/>
        </a:defRPr>
      </a:lvl2pPr>
      <a:lvl3pPr marL="2699995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724" kern="1200">
          <a:solidFill>
            <a:schemeClr val="tx1"/>
          </a:solidFill>
          <a:latin typeface="+mn-lt"/>
          <a:ea typeface="+mn-ea"/>
          <a:cs typeface="+mn-cs"/>
        </a:defRPr>
      </a:lvl3pPr>
      <a:lvl4pPr marL="3779992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4pPr>
      <a:lvl5pPr marL="4859990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5pPr>
      <a:lvl6pPr marL="5939988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6pPr>
      <a:lvl7pPr marL="7019986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7pPr>
      <a:lvl8pPr marL="8099984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8pPr>
      <a:lvl9pPr marL="9179982" indent="-539999" algn="l" defTabSz="2159996" rtl="0" eaLnBrk="1" latinLnBrk="0" hangingPunct="1">
        <a:lnSpc>
          <a:spcPct val="90000"/>
        </a:lnSpc>
        <a:spcBef>
          <a:spcPts val="1181"/>
        </a:spcBef>
        <a:buFont typeface="Arial" panose="020B0604020202020204" pitchFamily="34" charset="0"/>
        <a:buChar char="•"/>
        <a:defRPr sz="425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1pPr>
      <a:lvl2pPr marL="1079998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2pPr>
      <a:lvl3pPr marL="2159996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3pPr>
      <a:lvl4pPr marL="3239994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4pPr>
      <a:lvl5pPr marL="4319991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5pPr>
      <a:lvl6pPr marL="5399989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6pPr>
      <a:lvl7pPr marL="6479987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7pPr>
      <a:lvl8pPr marL="7559985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8pPr>
      <a:lvl9pPr marL="8639983" algn="l" defTabSz="2159996" rtl="0" eaLnBrk="1" latinLnBrk="0" hangingPunct="1">
        <a:defRPr sz="425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 l="-1000" r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832999" y="8795062"/>
          <a:ext cx="2596" cy="25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32999" y="8795062"/>
                        <a:ext cx="2596" cy="25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tângulo 4"/>
          <p:cNvSpPr/>
          <p:nvPr/>
        </p:nvSpPr>
        <p:spPr>
          <a:xfrm>
            <a:off x="1580752" y="5271060"/>
            <a:ext cx="18309444" cy="7293587"/>
          </a:xfrm>
          <a:prstGeom prst="rect">
            <a:avLst/>
          </a:prstGeom>
          <a:noFill/>
          <a:ln w="19050">
            <a:solidFill>
              <a:srgbClr val="004D9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652" dirty="0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6" name="Retângulo 5"/>
          <p:cNvSpPr/>
          <p:nvPr/>
        </p:nvSpPr>
        <p:spPr>
          <a:xfrm>
            <a:off x="1580749" y="16755361"/>
            <a:ext cx="18309444" cy="10891939"/>
          </a:xfrm>
          <a:prstGeom prst="rect">
            <a:avLst/>
          </a:prstGeom>
          <a:noFill/>
          <a:ln w="19050">
            <a:solidFill>
              <a:srgbClr val="0093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652" dirty="0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580749" y="1624741"/>
            <a:ext cx="18309444" cy="3205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Instituição: </a:t>
            </a:r>
          </a:p>
          <a:p>
            <a:pPr>
              <a:lnSpc>
                <a:spcPct val="150000"/>
              </a:lnSpc>
            </a:pPr>
            <a:r>
              <a:rPr lang="pt-BR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Área: </a:t>
            </a:r>
            <a:endParaRPr lang="pt-BR" sz="3489" dirty="0">
              <a:solidFill>
                <a:schemeClr val="tx1">
                  <a:lumMod val="60000"/>
                  <a:lumOff val="40000"/>
                </a:schemeClr>
              </a:solidFill>
              <a:latin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Projeto: </a:t>
            </a:r>
            <a:endParaRPr lang="pt-BR" sz="3489" dirty="0">
              <a:solidFill>
                <a:schemeClr val="tx1">
                  <a:lumMod val="60000"/>
                  <a:lumOff val="40000"/>
                </a:schemeClr>
              </a:solidFill>
              <a:latin typeface="Verdan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pt-BR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Líder do projeto: </a:t>
            </a:r>
            <a:r>
              <a:rPr lang="pt-BR" sz="3489" dirty="0">
                <a:solidFill>
                  <a:schemeClr val="tx1">
                    <a:lumMod val="60000"/>
                    <a:lumOff val="40000"/>
                  </a:schemeClr>
                </a:solidFill>
                <a:latin typeface="Verdana" panose="020B0604030504040204" pitchFamily="34" charset="0"/>
              </a:rPr>
              <a:t>	</a:t>
            </a:r>
            <a:endParaRPr lang="pt-BR" sz="3489" dirty="0">
              <a:solidFill>
                <a:srgbClr val="004D9C"/>
              </a:solidFill>
              <a:latin typeface="Verdana" panose="020B0604030504040204" pitchFamily="34" charset="0"/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788979" y="5635978"/>
            <a:ext cx="17511118" cy="345965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rgbClr val="137CC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489" b="1" dirty="0" err="1">
                <a:solidFill>
                  <a:srgbClr val="004D9C"/>
                </a:solidFill>
                <a:latin typeface="Verdana" panose="020B0604030504040204" pitchFamily="34" charset="0"/>
              </a:rPr>
              <a:t>Justificativa</a:t>
            </a:r>
            <a:r>
              <a:rPr lang="en-US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 para </a:t>
            </a:r>
            <a:r>
              <a:rPr lang="en-US" sz="3489" b="1" dirty="0" err="1">
                <a:solidFill>
                  <a:srgbClr val="004D9C"/>
                </a:solidFill>
                <a:latin typeface="Verdana" panose="020B0604030504040204" pitchFamily="34" charset="0"/>
              </a:rPr>
              <a:t>iniciar</a:t>
            </a:r>
            <a:r>
              <a:rPr lang="en-US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 o </a:t>
            </a:r>
            <a:r>
              <a:rPr lang="en-US" sz="3489" b="1" dirty="0" err="1">
                <a:solidFill>
                  <a:srgbClr val="004D9C"/>
                </a:solidFill>
                <a:latin typeface="Verdana" panose="020B0604030504040204" pitchFamily="34" charset="0"/>
              </a:rPr>
              <a:t>Projeto</a:t>
            </a:r>
            <a:r>
              <a:rPr lang="en-US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:</a:t>
            </a:r>
          </a:p>
          <a:p>
            <a:pPr>
              <a:lnSpc>
                <a:spcPct val="100000"/>
              </a:lnSpc>
            </a:pPr>
            <a:endParaRPr lang="pt-BR" sz="3489" dirty="0">
              <a:solidFill>
                <a:srgbClr val="004D9C"/>
              </a:solidFill>
              <a:latin typeface="Verdana" panose="020B0604030504040204" pitchFamily="34" charset="0"/>
            </a:endParaRP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825409" y="9614229"/>
            <a:ext cx="17209373" cy="2705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rgbClr val="137CC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489" b="1" dirty="0" err="1">
                <a:solidFill>
                  <a:srgbClr val="004D9C"/>
                </a:solidFill>
                <a:latin typeface="Verdana" panose="020B0604030504040204" pitchFamily="34" charset="0"/>
              </a:rPr>
              <a:t>Objetivo</a:t>
            </a:r>
            <a:r>
              <a:rPr lang="en-US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 </a:t>
            </a:r>
            <a:r>
              <a:rPr lang="en-US" sz="3489" b="1" dirty="0" err="1">
                <a:solidFill>
                  <a:srgbClr val="004D9C"/>
                </a:solidFill>
                <a:latin typeface="Verdana" panose="020B0604030504040204" pitchFamily="34" charset="0"/>
              </a:rPr>
              <a:t>definido</a:t>
            </a:r>
            <a:r>
              <a:rPr lang="en-US" sz="3489" b="1" dirty="0">
                <a:solidFill>
                  <a:srgbClr val="004D9C"/>
                </a:solidFill>
                <a:latin typeface="Verdana" panose="020B0604030504040204" pitchFamily="34" charset="0"/>
              </a:rPr>
              <a:t>:</a:t>
            </a:r>
          </a:p>
          <a:p>
            <a:pPr>
              <a:lnSpc>
                <a:spcPct val="100000"/>
              </a:lnSpc>
            </a:pPr>
            <a:endParaRPr lang="en-US" sz="3489" dirty="0">
              <a:solidFill>
                <a:srgbClr val="004D9C"/>
              </a:solidFill>
              <a:latin typeface="Verdana" panose="020B0604030504040204" pitchFamily="34" charset="0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924925" y="16953967"/>
            <a:ext cx="17568585" cy="30974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rgbClr val="137CC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lnSpc>
                <a:spcPct val="100000"/>
              </a:lnSpc>
            </a:pPr>
            <a:r>
              <a:rPr lang="en-US" sz="3489" b="1" dirty="0" err="1">
                <a:solidFill>
                  <a:srgbClr val="00936D"/>
                </a:solidFill>
                <a:latin typeface="Verdana" panose="020B0604030504040204" pitchFamily="34" charset="0"/>
              </a:rPr>
              <a:t>Resultados</a:t>
            </a:r>
            <a:r>
              <a:rPr lang="en-US" sz="3489" b="1" dirty="0">
                <a:solidFill>
                  <a:srgbClr val="00936D"/>
                </a:solidFill>
                <a:latin typeface="Verdana" panose="020B0604030504040204" pitchFamily="34" charset="0"/>
              </a:rPr>
              <a:t> </a:t>
            </a:r>
            <a:r>
              <a:rPr lang="en-US" sz="3489" b="1" dirty="0" err="1">
                <a:solidFill>
                  <a:srgbClr val="00936D"/>
                </a:solidFill>
                <a:latin typeface="Verdana" panose="020B0604030504040204" pitchFamily="34" charset="0"/>
              </a:rPr>
              <a:t>Finais</a:t>
            </a:r>
            <a:r>
              <a:rPr lang="en-US" sz="3489" b="1" dirty="0">
                <a:solidFill>
                  <a:srgbClr val="00936D"/>
                </a:solidFill>
                <a:latin typeface="Verdana" panose="020B0604030504040204" pitchFamily="34" charset="0"/>
              </a:rPr>
              <a:t>:</a:t>
            </a:r>
          </a:p>
          <a:p>
            <a:pPr>
              <a:lnSpc>
                <a:spcPct val="100000"/>
              </a:lnSpc>
            </a:pPr>
            <a:endParaRPr lang="en-US" sz="3489" dirty="0">
              <a:solidFill>
                <a:srgbClr val="00936D"/>
              </a:solidFill>
              <a:latin typeface="Verdana" panose="020B0604030504040204" pitchFamily="34" charset="0"/>
            </a:endParaRPr>
          </a:p>
        </p:txBody>
      </p:sp>
      <p:sp>
        <p:nvSpPr>
          <p:cNvPr id="32" name="Retângulo 31"/>
          <p:cNvSpPr/>
          <p:nvPr/>
        </p:nvSpPr>
        <p:spPr>
          <a:xfrm>
            <a:off x="1580749" y="13262486"/>
            <a:ext cx="18309444" cy="2795069"/>
          </a:xfrm>
          <a:prstGeom prst="rect">
            <a:avLst/>
          </a:prstGeom>
          <a:noFill/>
          <a:ln w="19050">
            <a:solidFill>
              <a:srgbClr val="9064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4652" dirty="0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1774022" y="13505204"/>
            <a:ext cx="17952024" cy="139472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rgbClr val="137CC0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pt-BR" sz="3489" b="1" dirty="0">
                <a:solidFill>
                  <a:srgbClr val="9064A9"/>
                </a:solidFill>
                <a:latin typeface="Verdana" panose="020B0604030504040204" pitchFamily="34" charset="0"/>
              </a:rPr>
              <a:t>Causas e Contramedidas</a:t>
            </a:r>
          </a:p>
          <a:p>
            <a:endParaRPr lang="pt-BR" sz="3198" u="sng" dirty="0">
              <a:solidFill>
                <a:srgbClr val="9064A9"/>
              </a:solidFill>
              <a:latin typeface="Verdana" panose="020B0604030504040204" pitchFamily="34" charset="0"/>
            </a:endParaRPr>
          </a:p>
          <a:p>
            <a:r>
              <a:rPr lang="pt-BR" sz="3489" dirty="0">
                <a:solidFill>
                  <a:schemeClr val="tx1">
                    <a:lumMod val="60000"/>
                    <a:lumOff val="40000"/>
                  </a:schemeClr>
                </a:solidFill>
                <a:latin typeface="Verdana" panose="020B0604030504040204" pitchFamily="34" charset="0"/>
              </a:rPr>
              <a:t>Descrever as principais causas</a:t>
            </a:r>
            <a:endParaRPr lang="pt-BR" sz="3053" dirty="0">
              <a:solidFill>
                <a:srgbClr val="9064A9"/>
              </a:solidFill>
              <a:latin typeface="Verdana" panose="020B0604030504040204" pitchFamily="34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A0EA061-CF0A-2C44-A015-F2E71F73C845}"/>
              </a:ext>
            </a:extLst>
          </p:cNvPr>
          <p:cNvCxnSpPr>
            <a:cxnSpLocks/>
          </p:cNvCxnSpPr>
          <p:nvPr/>
        </p:nvCxnSpPr>
        <p:spPr>
          <a:xfrm>
            <a:off x="1998772" y="9095628"/>
            <a:ext cx="17494738" cy="0"/>
          </a:xfrm>
          <a:prstGeom prst="line">
            <a:avLst/>
          </a:prstGeom>
          <a:ln w="19050">
            <a:solidFill>
              <a:srgbClr val="004D9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4863E105-8972-694C-B33C-E47ECD3B92B2}"/>
              </a:ext>
            </a:extLst>
          </p:cNvPr>
          <p:cNvSpPr/>
          <p:nvPr/>
        </p:nvSpPr>
        <p:spPr>
          <a:xfrm>
            <a:off x="0" y="10949"/>
            <a:ext cx="21599525" cy="257032"/>
          </a:xfrm>
          <a:prstGeom prst="rect">
            <a:avLst/>
          </a:prstGeom>
          <a:solidFill>
            <a:srgbClr val="FC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45"/>
          </a:p>
        </p:txBody>
      </p:sp>
      <p:sp>
        <p:nvSpPr>
          <p:cNvPr id="26" name="Rectangle 17">
            <a:extLst>
              <a:ext uri="{FF2B5EF4-FFF2-40B4-BE49-F238E27FC236}">
                <a16:creationId xmlns:a16="http://schemas.microsoft.com/office/drawing/2014/main" id="{4863E105-8972-694C-B33C-E47ECD3B92B2}"/>
              </a:ext>
            </a:extLst>
          </p:cNvPr>
          <p:cNvSpPr/>
          <p:nvPr/>
        </p:nvSpPr>
        <p:spPr>
          <a:xfrm>
            <a:off x="0" y="28543393"/>
            <a:ext cx="21599525" cy="257032"/>
          </a:xfrm>
          <a:prstGeom prst="rect">
            <a:avLst/>
          </a:prstGeom>
          <a:solidFill>
            <a:srgbClr val="FCC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45"/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51B59B00-AC7D-5598-8D8D-177305B6170F}"/>
              </a:ext>
            </a:extLst>
          </p:cNvPr>
          <p:cNvSpPr txBox="1"/>
          <p:nvPr/>
        </p:nvSpPr>
        <p:spPr>
          <a:xfrm>
            <a:off x="16071273" y="1153125"/>
            <a:ext cx="4264373" cy="17580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LOGO DA SUA INSTITUIÇÃO</a:t>
            </a: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59FC4312-29DB-2DB5-EF33-2F1C72B5BAD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021113" y="3337263"/>
            <a:ext cx="3869080" cy="1345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7505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Tema do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o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o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lice</Template>
  <TotalTime>998</TotalTime>
  <Words>36</Words>
  <Application>Microsoft Office PowerPoint</Application>
  <PresentationFormat>Personalizar</PresentationFormat>
  <Paragraphs>13</Paragraphs>
  <Slides>1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Verdana</vt:lpstr>
      <vt:lpstr>Office Theme</vt:lpstr>
      <vt:lpstr>Slide do think-cell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Liliane Aparecida Simeao</dc:creator>
  <cp:lastModifiedBy>11107</cp:lastModifiedBy>
  <cp:revision>19</cp:revision>
  <cp:lastPrinted>2019-06-19T19:24:59Z</cp:lastPrinted>
  <dcterms:created xsi:type="dcterms:W3CDTF">2019-06-07T20:24:36Z</dcterms:created>
  <dcterms:modified xsi:type="dcterms:W3CDTF">2024-06-12T15:58:18Z</dcterms:modified>
</cp:coreProperties>
</file>